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705" r:id="rId2"/>
  </p:sldMasterIdLst>
  <p:notesMasterIdLst>
    <p:notesMasterId r:id="rId6"/>
  </p:notesMasterIdLst>
  <p:sldIdLst>
    <p:sldId id="271" r:id="rId3"/>
    <p:sldId id="257" r:id="rId4"/>
    <p:sldId id="282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CABEE7-1C1F-4634-8494-5632AB1726C3}" type="datetimeFigureOut">
              <a:rPr lang="en-AU" smtClean="0"/>
              <a:t>21/12/2020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523D44-783E-4EA3-93F3-7B6DE17BC7F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043417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0E10061B-789A-42FF-8E62-511FEFCF9B06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DB2AFFF-F2C7-4A37-9B11-BCED3052A8D3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950CC9E-4E8B-411D-952E-1634E9AC07A8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464F084-BD6E-4CC3-9B52-611415964C71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027801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143042A-AEEC-4A5A-804F-0C212591B475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DFD7486-A58C-4B2E-B245-C1DA6F8F5D6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06054C3-A5E1-45D4-BF37-50B48BE1C97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5ED6397-C8AB-4B9C-814C-4F1FE5D33381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24514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10EDDF2-7F07-4362-BCDC-29EF63C227EC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B8D7EB24-D87E-4326-A831-55B51C1EBC59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6CF0165-5236-4A18-AFD7-E2C15E37FAA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5834650-C8A5-49AB-9277-08052C1F266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arallelogram 7">
            <a:extLst>
              <a:ext uri="{FF2B5EF4-FFF2-40B4-BE49-F238E27FC236}">
                <a16:creationId xmlns:a16="http://schemas.microsoft.com/office/drawing/2014/main" id="{4FF066B7-2BCD-4B3E-BC0D-937C40CC6A4D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16D4B88-A094-46D6-AEAD-6084D1039CEA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B9A7FCD-24FA-4AAF-A522-67AFB44DB48A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06BAB701-8338-47D9-A1B3-EB6A11213F0A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52116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9D7ABD3-AE33-4C2A-A4F1-57C1CC063394}"/>
              </a:ext>
            </a:extLst>
          </p:cNvPr>
          <p:cNvGrpSpPr/>
          <p:nvPr userDrawn="1"/>
        </p:nvGrpSpPr>
        <p:grpSpPr>
          <a:xfrm flipH="1">
            <a:off x="7561328" y="0"/>
            <a:ext cx="4840632" cy="3541007"/>
            <a:chOff x="-200919" y="-2"/>
            <a:chExt cx="4840632" cy="3367272"/>
          </a:xfrm>
          <a:solidFill>
            <a:schemeClr val="bg1">
              <a:lumMod val="85000"/>
            </a:schemeClr>
          </a:solidFill>
        </p:grpSpPr>
        <p:sp>
          <p:nvSpPr>
            <p:cNvPr id="5" name="Diagonal Stripe 4">
              <a:extLst>
                <a:ext uri="{FF2B5EF4-FFF2-40B4-BE49-F238E27FC236}">
                  <a16:creationId xmlns:a16="http://schemas.microsoft.com/office/drawing/2014/main" id="{5E5059D5-83B6-4E3C-8691-B21BD8C73A0D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05C33A8C-3829-4B9A-ABB1-72E6CB77EA5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441124E0-5849-4CD3-82EB-7318847FF891}"/>
                </a:ext>
              </a:extLst>
            </p:cNvPr>
            <p:cNvSpPr/>
            <p:nvPr/>
          </p:nvSpPr>
          <p:spPr>
            <a:xfrm rot="19340935">
              <a:off x="-200919" y="1140864"/>
              <a:ext cx="1354398" cy="214994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A08C98F5-9F69-4ED8-850E-9FFE01FDCC1E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"/>
          </p:nvPr>
        </p:nvSpPr>
        <p:spPr>
          <a:xfrm>
            <a:off x="518678" y="1671924"/>
            <a:ext cx="10835122" cy="450503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83F3D1AB-1A77-4E7E-BE43-FE8B2E8C7B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AC99E6CA-102C-4B88-8A06-61E8998E54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D200FB-2745-4F6B-997A-F5BF5463140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809477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>
            <a:extLst>
              <a:ext uri="{FF2B5EF4-FFF2-40B4-BE49-F238E27FC236}">
                <a16:creationId xmlns:a16="http://schemas.microsoft.com/office/drawing/2014/main" id="{5AAAEBDC-CE2D-4406-B476-C082B31EBD2C}"/>
              </a:ext>
            </a:extLst>
          </p:cNvPr>
          <p:cNvGrpSpPr>
            <a:grpSpLocks/>
          </p:cNvGrpSpPr>
          <p:nvPr userDrawn="1"/>
        </p:nvGrpSpPr>
        <p:grpSpPr bwMode="auto">
          <a:xfrm flipH="1">
            <a:off x="7561263" y="0"/>
            <a:ext cx="4832350" cy="3541713"/>
            <a:chOff x="-192127" y="-2"/>
            <a:chExt cx="4831840" cy="3367272"/>
          </a:xfrm>
        </p:grpSpPr>
        <p:sp>
          <p:nvSpPr>
            <p:cNvPr id="3" name="Diagonal Stripe 2">
              <a:extLst>
                <a:ext uri="{FF2B5EF4-FFF2-40B4-BE49-F238E27FC236}">
                  <a16:creationId xmlns:a16="http://schemas.microsoft.com/office/drawing/2014/main" id="{4A300503-FE8B-4BD7-8820-70D0EE051AE9}"/>
                </a:ext>
              </a:extLst>
            </p:cNvPr>
            <p:cNvSpPr/>
            <p:nvPr userDrawn="1"/>
          </p:nvSpPr>
          <p:spPr>
            <a:xfrm>
              <a:off x="-59" y="-2"/>
              <a:ext cx="4639772" cy="3367272"/>
            </a:xfrm>
            <a:prstGeom prst="diagStripe">
              <a:avLst>
                <a:gd name="adj" fmla="val 51202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B2D1BB40-A57B-4093-9BB3-EFE1854DB18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433301" y="-2"/>
              <a:ext cx="1241294" cy="916152"/>
            </a:xfrm>
            <a:prstGeom prst="line">
              <a:avLst/>
            </a:prstGeom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5D8F7BCC-EDE8-445A-8560-17B42A88AAF8}"/>
                </a:ext>
              </a:extLst>
            </p:cNvPr>
            <p:cNvSpPr/>
            <p:nvPr userDrawn="1"/>
          </p:nvSpPr>
          <p:spPr>
            <a:xfrm rot="19421162">
              <a:off x="-192127" y="1141037"/>
              <a:ext cx="1353995" cy="214322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6" name="Parallelogram 5">
            <a:extLst>
              <a:ext uri="{FF2B5EF4-FFF2-40B4-BE49-F238E27FC236}">
                <a16:creationId xmlns:a16="http://schemas.microsoft.com/office/drawing/2014/main" id="{9B4A864A-17B8-4B65-AA03-2B3141C0A732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FB1C8CA3-31F0-4D73-9AB7-C5BD80D4E4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F92F4D2-D714-4730-9136-76869B1BCF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74A095-9D4E-46E5-881E-7F9EBAE573E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699998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C2C20DE-FD33-4A6E-810D-EB78A869E6BA}"/>
              </a:ext>
            </a:extLst>
          </p:cNvPr>
          <p:cNvGrpSpPr/>
          <p:nvPr userDrawn="1"/>
        </p:nvGrpSpPr>
        <p:grpSpPr>
          <a:xfrm flipH="1">
            <a:off x="7561328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4" name="Diagonal Stripe 3">
              <a:extLst>
                <a:ext uri="{FF2B5EF4-FFF2-40B4-BE49-F238E27FC236}">
                  <a16:creationId xmlns:a16="http://schemas.microsoft.com/office/drawing/2014/main" id="{C405C02D-9CCF-403D-8044-831EA3B8FCCB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E9380B31-E741-45ED-89EC-0C314DA0D8F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A7536251-D387-4E19-9405-80D402F21899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7" name="Parallelogram 6">
            <a:extLst>
              <a:ext uri="{FF2B5EF4-FFF2-40B4-BE49-F238E27FC236}">
                <a16:creationId xmlns:a16="http://schemas.microsoft.com/office/drawing/2014/main" id="{0B7B713A-74FC-49DE-A8B6-369B37060273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3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65C7404A-B9BE-403B-9CCB-7AA8A18A74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E67BCF27-B6C1-4053-A6D4-158AE8672C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AF4AAF-F9BB-4F03-B3B7-8607AFA5C1F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946316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29093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71504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/>
          <p:cNvSpPr>
            <a:spLocks noGrp="1"/>
          </p:cNvSpPr>
          <p:nvPr>
            <p:ph sz="quarter" idx="16"/>
          </p:nvPr>
        </p:nvSpPr>
        <p:spPr>
          <a:xfrm>
            <a:off x="339106" y="1661686"/>
            <a:ext cx="11517932" cy="44386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Slide Number Placeholder 7">
            <a:extLst>
              <a:ext uri="{FF2B5EF4-FFF2-40B4-BE49-F238E27FC236}">
                <a16:creationId xmlns:a16="http://schemas.microsoft.com/office/drawing/2014/main" id="{9B37A18F-4E11-4279-B7B6-3C64CCF37CB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463213" y="6623050"/>
            <a:ext cx="357187" cy="13811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1C8AEF2-83C7-4DCA-92F1-322B2EBA01D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5CF06810-D0E0-4693-AB99-DFF9195CB0B1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8316913" y="6621463"/>
            <a:ext cx="1620837" cy="1397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0290F4-3857-4872-8AE4-DA58ED8B3950}" type="datetime9">
              <a:rPr lang="en-GB"/>
              <a:pPr>
                <a:defRPr/>
              </a:pPr>
              <a:t>21/12/2020 16:09:4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4806726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slide - Gre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85236" y="241300"/>
            <a:ext cx="11040533" cy="719138"/>
          </a:xfr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lang="en-GB" sz="1600" b="0" i="0" kern="1200" spc="-50" baseline="0" dirty="0" smtClean="0">
                <a:solidFill>
                  <a:schemeClr val="tx1"/>
                </a:solidFill>
                <a:effectLst/>
                <a:latin typeface="Montserrat Medium" pitchFamily="2" charset="77"/>
                <a:ea typeface="+mj-ea"/>
                <a:cs typeface="+mj-cs"/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buNone/>
              <a:tabLst/>
              <a:defRPr sz="1600"/>
            </a:lvl2pPr>
            <a:lvl3pPr marL="0" indent="0">
              <a:buNone/>
              <a:defRPr/>
            </a:lvl3pPr>
            <a:lvl4pPr marL="197988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5673" y="1143000"/>
            <a:ext cx="11406792" cy="5072558"/>
          </a:xfrm>
        </p:spPr>
        <p:txBody>
          <a:bodyPr/>
          <a:lstStyle>
            <a:lvl1pPr marL="0" indent="0">
              <a:lnSpc>
                <a:spcPts val="3001"/>
              </a:lnSpc>
              <a:buNone/>
              <a:defRPr lang="en-GB" smtClean="0">
                <a:effectLst/>
              </a:defRPr>
            </a:lvl1pPr>
            <a:lvl2pPr marL="0" marR="0" indent="0" algn="l" defTabSz="914344" rtl="0" eaLnBrk="1" fontAlgn="auto" latinLnBrk="0" hangingPunct="1">
              <a:lnSpc>
                <a:spcPts val="3001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Montserrat"/>
              <a:buNone/>
              <a:tabLst/>
              <a:defRPr lang="en-GB" smtClean="0">
                <a:effectLst/>
              </a:defRPr>
            </a:lvl2pPr>
            <a:lvl3pPr marL="0" indent="0">
              <a:buNone/>
              <a:defRPr/>
            </a:lvl3pPr>
            <a:lvl4pPr marL="197988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634CCEB1-9E5F-4799-BCB7-3FD6E442A7B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85763" y="6408738"/>
            <a:ext cx="4800600" cy="287337"/>
          </a:xfrm>
        </p:spPr>
        <p:txBody>
          <a:bodyPr/>
          <a:lstStyle>
            <a:lvl1pPr algn="ctr" defTabSz="914400">
              <a:defRPr dirty="0">
                <a:solidFill>
                  <a:prstClr val="black">
                    <a:tint val="75000"/>
                  </a:prstClr>
                </a:solidFill>
                <a:ea typeface="+mn-ea"/>
              </a:defRPr>
            </a:lvl1pPr>
          </a:lstStyle>
          <a:p>
            <a:pPr>
              <a:defRPr/>
            </a:pPr>
            <a:r>
              <a:rPr lang="en-GB"/>
              <a:t>VI Technology Implementation Project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EFE9635E-723B-40F5-84FA-33B9D351887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4400" fontAlgn="auto">
              <a:spcBef>
                <a:spcPts val="0"/>
              </a:spcBef>
              <a:spcAft>
                <a:spcPts val="0"/>
              </a:spcAft>
              <a:defRPr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defRPr>
            </a:lvl1pPr>
          </a:lstStyle>
          <a:p>
            <a:pPr>
              <a:defRPr/>
            </a:pPr>
            <a:fld id="{7C1162DF-D67B-4DAE-A5A7-EA1BF038C27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77219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106AAE72-FFE0-4F8D-B8F3-7E7AC8D65A2C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450CF92-BF78-4C7C-884D-E2A390DE8F8F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1210398-FEA1-444C-BF67-54AC6818AA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AEBF04E-E119-4281-904A-AE67788017C2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901897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349A7676-8466-46D4-9FFC-7FD6E3131BF3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858C418D-956F-4AF1-A6A9-7E4C99048F0B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A58A304-E741-4720-8523-B207E95758E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169173B-1148-4D80-B303-C318F6FD8CB1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arallelogram 8">
            <a:extLst>
              <a:ext uri="{FF2B5EF4-FFF2-40B4-BE49-F238E27FC236}">
                <a16:creationId xmlns:a16="http://schemas.microsoft.com/office/drawing/2014/main" id="{554FCF65-3F91-426F-8B40-D14449BC4D1E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DD1C0B-FF7F-42EA-82AD-85D6071933A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E9A8563-2B0C-4FB2-89E3-D45F086E8AEF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0FDB6D7F-7078-4E29-BFE4-67F6B1B8B543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62681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974D8F20-B067-4FED-9998-DE0E7704E37A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E1BA0C9A-2D66-4022-AF17-30EB15488A6C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26BCC5C-9CDA-4E8F-BBF9-E7666142F0DA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83769D-5123-4228-81DB-AEE452CA3AC6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arallelogram 8">
            <a:extLst>
              <a:ext uri="{FF2B5EF4-FFF2-40B4-BE49-F238E27FC236}">
                <a16:creationId xmlns:a16="http://schemas.microsoft.com/office/drawing/2014/main" id="{F1CB3DA9-A9AC-42C1-8052-2E26DDC4FE08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8FD6BC1-E11B-4EF1-9973-FF11B169CAB5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C58B46A-320D-4D3B-9F48-4F043C0ECC19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D9D63716-CA6F-475B-967A-74175FDF169E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494483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ay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>
            <a:extLst>
              <a:ext uri="{FF2B5EF4-FFF2-40B4-BE49-F238E27FC236}">
                <a16:creationId xmlns:a16="http://schemas.microsoft.com/office/drawing/2014/main" id="{1DBE7F98-C0D4-4069-845C-6DA3BA04FC50}"/>
              </a:ext>
            </a:extLst>
          </p:cNvPr>
          <p:cNvSpPr/>
          <p:nvPr userDrawn="1"/>
        </p:nvSpPr>
        <p:spPr>
          <a:xfrm flipH="1" flipV="1">
            <a:off x="2709863" y="0"/>
            <a:ext cx="9482137" cy="5046663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AC7FE499-58F7-4215-BBE3-1BA78A1F62F1}"/>
              </a:ext>
            </a:extLst>
          </p:cNvPr>
          <p:cNvSpPr/>
          <p:nvPr userDrawn="1"/>
        </p:nvSpPr>
        <p:spPr>
          <a:xfrm flipH="1">
            <a:off x="3367088" y="0"/>
            <a:ext cx="3606800" cy="1171575"/>
          </a:xfrm>
          <a:prstGeom prst="parallelogram">
            <a:avLst>
              <a:gd name="adj" fmla="val 186380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89100BC-E622-446C-9C90-E6BC06BB95E3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5046663"/>
            <a:ext cx="1524000" cy="1803400"/>
          </a:xfrm>
          <a:prstGeom prst="line">
            <a:avLst/>
          </a:prstGeom>
          <a:ln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3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604000" y="0"/>
            <a:ext cx="5588000" cy="6872249"/>
          </a:xfrm>
          <a:custGeom>
            <a:avLst/>
            <a:gdLst>
              <a:gd name="connsiteX0" fmla="*/ 3876237 w 5588000"/>
              <a:gd name="connsiteY0" fmla="*/ 5431883 h 6872249"/>
              <a:gd name="connsiteX1" fmla="*/ 4953000 w 5588000"/>
              <a:gd name="connsiteY1" fmla="*/ 5431883 h 6872249"/>
              <a:gd name="connsiteX2" fmla="*/ 3769163 w 5588000"/>
              <a:gd name="connsiteY2" fmla="*/ 6872249 h 6872249"/>
              <a:gd name="connsiteX3" fmla="*/ 2692400 w 5588000"/>
              <a:gd name="connsiteY3" fmla="*/ 6872249 h 6872249"/>
              <a:gd name="connsiteX4" fmla="*/ 2479230 w 5588000"/>
              <a:gd name="connsiteY4" fmla="*/ 2870200 h 6872249"/>
              <a:gd name="connsiteX5" fmla="*/ 3175000 w 5588000"/>
              <a:gd name="connsiteY5" fmla="*/ 2870200 h 6872249"/>
              <a:gd name="connsiteX6" fmla="*/ 1965770 w 5588000"/>
              <a:gd name="connsiteY6" fmla="*/ 4310566 h 6872249"/>
              <a:gd name="connsiteX7" fmla="*/ 1270000 w 5588000"/>
              <a:gd name="connsiteY7" fmla="*/ 4310566 h 6872249"/>
              <a:gd name="connsiteX8" fmla="*/ 5575300 w 5588000"/>
              <a:gd name="connsiteY8" fmla="*/ 139700 h 6872249"/>
              <a:gd name="connsiteX9" fmla="*/ 5575300 w 5588000"/>
              <a:gd name="connsiteY9" fmla="*/ 3238583 h 6872249"/>
              <a:gd name="connsiteX10" fmla="*/ 2571663 w 5588000"/>
              <a:gd name="connsiteY10" fmla="*/ 6858000 h 6872249"/>
              <a:gd name="connsiteX11" fmla="*/ 0 w 5588000"/>
              <a:gd name="connsiteY11" fmla="*/ 6858000 h 6872249"/>
              <a:gd name="connsiteX12" fmla="*/ 4256761 w 5588000"/>
              <a:gd name="connsiteY12" fmla="*/ 0 h 6872249"/>
              <a:gd name="connsiteX13" fmla="*/ 5588000 w 5588000"/>
              <a:gd name="connsiteY13" fmla="*/ 0 h 6872249"/>
              <a:gd name="connsiteX14" fmla="*/ 3274339 w 5588000"/>
              <a:gd name="connsiteY14" fmla="*/ 2755900 h 6872249"/>
              <a:gd name="connsiteX15" fmla="*/ 1943100 w 5588000"/>
              <a:gd name="connsiteY15" fmla="*/ 2755900 h 6872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88000" h="6872249">
                <a:moveTo>
                  <a:pt x="3876237" y="5431883"/>
                </a:moveTo>
                <a:lnTo>
                  <a:pt x="4953000" y="5431883"/>
                </a:lnTo>
                <a:lnTo>
                  <a:pt x="3769163" y="6872249"/>
                </a:lnTo>
                <a:lnTo>
                  <a:pt x="2692400" y="6872249"/>
                </a:lnTo>
                <a:close/>
                <a:moveTo>
                  <a:pt x="2479230" y="2870200"/>
                </a:moveTo>
                <a:lnTo>
                  <a:pt x="3175000" y="2870200"/>
                </a:lnTo>
                <a:lnTo>
                  <a:pt x="1965770" y="4310566"/>
                </a:lnTo>
                <a:lnTo>
                  <a:pt x="1270000" y="4310566"/>
                </a:lnTo>
                <a:close/>
                <a:moveTo>
                  <a:pt x="5575300" y="139700"/>
                </a:moveTo>
                <a:lnTo>
                  <a:pt x="5575300" y="3238583"/>
                </a:lnTo>
                <a:lnTo>
                  <a:pt x="2571663" y="6858000"/>
                </a:lnTo>
                <a:lnTo>
                  <a:pt x="0" y="6858000"/>
                </a:lnTo>
                <a:close/>
                <a:moveTo>
                  <a:pt x="4256761" y="0"/>
                </a:moveTo>
                <a:lnTo>
                  <a:pt x="5588000" y="0"/>
                </a:lnTo>
                <a:lnTo>
                  <a:pt x="3274339" y="2755900"/>
                </a:lnTo>
                <a:lnTo>
                  <a:pt x="1943100" y="2755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5FAA6BC4-C0D1-4596-BC96-FAB4854333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41C117-254B-4421-A2D6-438C73AA0C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E0BB010-E4EF-473C-ACD7-7674AE3681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8041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ayou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F2095A9-7E3F-4D3B-A2EB-2D3A9B79627D}"/>
              </a:ext>
            </a:extLst>
          </p:cNvPr>
          <p:cNvCxnSpPr>
            <a:cxnSpLocks/>
          </p:cNvCxnSpPr>
          <p:nvPr userDrawn="1"/>
        </p:nvCxnSpPr>
        <p:spPr>
          <a:xfrm flipV="1">
            <a:off x="10352088" y="1185863"/>
            <a:ext cx="1839912" cy="1633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6170177" y="1435100"/>
            <a:ext cx="6021821" cy="5422900"/>
          </a:xfrm>
          <a:custGeom>
            <a:avLst/>
            <a:gdLst>
              <a:gd name="connsiteX0" fmla="*/ 6021821 w 6021821"/>
              <a:gd name="connsiteY0" fmla="*/ 0 h 5422900"/>
              <a:gd name="connsiteX1" fmla="*/ 6021821 w 6021821"/>
              <a:gd name="connsiteY1" fmla="*/ 5422900 h 5422900"/>
              <a:gd name="connsiteX2" fmla="*/ 0 w 6021821"/>
              <a:gd name="connsiteY2" fmla="*/ 5422900 h 542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1821" h="5422900">
                <a:moveTo>
                  <a:pt x="6021821" y="0"/>
                </a:moveTo>
                <a:lnTo>
                  <a:pt x="6021821" y="5422900"/>
                </a:lnTo>
                <a:lnTo>
                  <a:pt x="0" y="5422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rIns="365760" anchor="ctr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2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B3237BB4-92A6-42D5-B23B-461C9A55165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7C34F241-F6C2-4ADC-9047-829FA85C09C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18C62A6-3FC2-4608-9E86-BBE75C4FB79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3479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i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34B7501E-83E9-4104-B808-B866A1FC3821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9" name="Diagonal Stripe 8">
              <a:extLst>
                <a:ext uri="{FF2B5EF4-FFF2-40B4-BE49-F238E27FC236}">
                  <a16:creationId xmlns:a16="http://schemas.microsoft.com/office/drawing/2014/main" id="{C4F69358-C244-4104-9F9E-517656F86DC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3DFDCB46-C01B-44AD-BF6B-4A28E6FB51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4A97987F-1DC7-4F47-8D92-E5ED5956E4F1}"/>
              </a:ext>
            </a:extLst>
          </p:cNvPr>
          <p:cNvSpPr/>
          <p:nvPr userDrawn="1"/>
        </p:nvSpPr>
        <p:spPr>
          <a:xfrm flipH="1">
            <a:off x="6680200" y="0"/>
            <a:ext cx="1282700" cy="476250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5DC9D98A-F830-482D-A8B6-585C180AA7AD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520698" y="2104888"/>
            <a:ext cx="547529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ontent Placeholder 3" title="Bullet Points"/>
          <p:cNvSpPr>
            <a:spLocks noGrp="1"/>
          </p:cNvSpPr>
          <p:nvPr>
            <p:ph sz="half" idx="13"/>
          </p:nvPr>
        </p:nvSpPr>
        <p:spPr>
          <a:xfrm>
            <a:off x="520698" y="2886076"/>
            <a:ext cx="547529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186713" y="2104888"/>
            <a:ext cx="547560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ontent Placeholder 5" title="Bullet Points"/>
          <p:cNvSpPr>
            <a:spLocks noGrp="1"/>
          </p:cNvSpPr>
          <p:nvPr>
            <p:ph sz="quarter" idx="15"/>
          </p:nvPr>
        </p:nvSpPr>
        <p:spPr>
          <a:xfrm>
            <a:off x="6186713" y="2886076"/>
            <a:ext cx="547560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4FE1809-5C5A-4ED5-9E1A-7EE19232F31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87A3BA65-0659-4C1D-8788-233B041C260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038DCCE-A851-4B3A-8CB1-04F2F09E129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8798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D1E39775-5158-4314-B8B1-C566CB7C2450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7" name="Diagonal Stripe 6">
              <a:extLst>
                <a:ext uri="{FF2B5EF4-FFF2-40B4-BE49-F238E27FC236}">
                  <a16:creationId xmlns:a16="http://schemas.microsoft.com/office/drawing/2014/main" id="{499F1F42-5117-46D1-85C7-3F5583CA6320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EE5D0BB3-F680-4C00-B96D-7C4D163BBE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90C42D7A-3B17-4E68-8537-52D5F1FEDFCD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9974A1C7-3491-4E03-A89F-26D41088274E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531814" y="2005762"/>
            <a:ext cx="5225764" cy="4083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hart Placeholder 2" title="Chart"/>
          <p:cNvSpPr>
            <a:spLocks noGrp="1"/>
          </p:cNvSpPr>
          <p:nvPr>
            <p:ph type="chart" sz="quarter" idx="10"/>
          </p:nvPr>
        </p:nvSpPr>
        <p:spPr>
          <a:xfrm>
            <a:off x="5796114" y="2005762"/>
            <a:ext cx="5719397" cy="408447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3ADE43BE-3683-4D20-9482-51BF202766B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682918DA-4CEF-45E3-A475-AFE9CD48F4E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536D89F-BC88-40F3-BBA2-1BDAADF632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4946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28E82EFA-1817-4EE4-A615-1E50B96B3F09}"/>
              </a:ext>
            </a:extLst>
          </p:cNvPr>
          <p:cNvGrpSpPr/>
          <p:nvPr userDrawn="1"/>
        </p:nvGrpSpPr>
        <p:grpSpPr>
          <a:xfrm flipH="1">
            <a:off x="8056985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93B44480-900D-407B-9ECC-64D9E6A070C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30360C0-BF78-49FA-9342-207784974FB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Parallelogram 7">
              <a:extLst>
                <a:ext uri="{FF2B5EF4-FFF2-40B4-BE49-F238E27FC236}">
                  <a16:creationId xmlns:a16="http://schemas.microsoft.com/office/drawing/2014/main" id="{CA999C14-079E-4BDF-9D44-378CCBD27596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9F124080-EFE1-4B5B-9DBC-AD50E31CDB0E}"/>
              </a:ext>
            </a:extLst>
          </p:cNvPr>
          <p:cNvSpPr/>
          <p:nvPr userDrawn="1"/>
        </p:nvSpPr>
        <p:spPr>
          <a:xfrm flipH="1">
            <a:off x="71755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5" name="Table Placeholder 11" title="Table"/>
          <p:cNvSpPr>
            <a:spLocks noGrp="1"/>
          </p:cNvSpPr>
          <p:nvPr>
            <p:ph type="tbl" sz="quarter" idx="12"/>
          </p:nvPr>
        </p:nvSpPr>
        <p:spPr>
          <a:xfrm>
            <a:off x="531378" y="2664803"/>
            <a:ext cx="10993375" cy="34331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37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20F29ED2-B42B-4B22-BB7C-BD133BDCACC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37806661-2AB7-4CED-9153-C13AD03E619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A9CD9A6-F6C8-44AD-B84D-F435649391B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3961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30CF550-C460-40A7-B672-53E6A87F674D}"/>
              </a:ext>
            </a:extLst>
          </p:cNvPr>
          <p:cNvSpPr/>
          <p:nvPr userDrawn="1"/>
        </p:nvSpPr>
        <p:spPr>
          <a:xfrm flipV="1">
            <a:off x="0" y="0"/>
            <a:ext cx="10810875" cy="5999163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1282C31-99D1-4FA3-AEBD-FD54954D5D7B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5345113"/>
            <a:ext cx="2362200" cy="1241425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31" title="Image"/>
          <p:cNvSpPr>
            <a:spLocks noGrp="1"/>
          </p:cNvSpPr>
          <p:nvPr>
            <p:ph type="pic" sz="quarter" idx="13"/>
          </p:nvPr>
        </p:nvSpPr>
        <p:spPr>
          <a:xfrm>
            <a:off x="359229" y="326570"/>
            <a:ext cx="11473542" cy="620485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anchor="ctr"/>
          <a:lstStyle>
            <a:lvl1pPr marL="0" indent="0" algn="ctr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itle 1" title="Title "/>
          <p:cNvSpPr>
            <a:spLocks noGrp="1"/>
          </p:cNvSpPr>
          <p:nvPr>
            <p:ph type="title"/>
          </p:nvPr>
        </p:nvSpPr>
        <p:spPr>
          <a:xfrm>
            <a:off x="359229" y="558802"/>
            <a:ext cx="8333222" cy="939798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88000" anchor="ctr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27094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4157">
            <a:extLst>
              <a:ext uri="{FF2B5EF4-FFF2-40B4-BE49-F238E27FC236}">
                <a16:creationId xmlns:a16="http://schemas.microsoft.com/office/drawing/2014/main" id="{7C8C5592-E1F1-4874-B328-A72485D34ABA}"/>
              </a:ext>
            </a:extLst>
          </p:cNvPr>
          <p:cNvSpPr/>
          <p:nvPr userDrawn="1"/>
        </p:nvSpPr>
        <p:spPr>
          <a:xfrm>
            <a:off x="6459538" y="3505200"/>
            <a:ext cx="258762" cy="258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2" name="Shape 4186">
            <a:extLst>
              <a:ext uri="{FF2B5EF4-FFF2-40B4-BE49-F238E27FC236}">
                <a16:creationId xmlns:a16="http://schemas.microsoft.com/office/drawing/2014/main" id="{738AF00F-E6DB-4FE3-82F6-85B2E7AF6810}"/>
              </a:ext>
            </a:extLst>
          </p:cNvPr>
          <p:cNvSpPr/>
          <p:nvPr userDrawn="1"/>
        </p:nvSpPr>
        <p:spPr>
          <a:xfrm>
            <a:off x="6507163" y="3897313"/>
            <a:ext cx="161925" cy="2968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4" name="Shape 4379">
            <a:extLst>
              <a:ext uri="{FF2B5EF4-FFF2-40B4-BE49-F238E27FC236}">
                <a16:creationId xmlns:a16="http://schemas.microsoft.com/office/drawing/2014/main" id="{42305002-85EF-4FBB-BBEA-C24897AB78F3}"/>
              </a:ext>
            </a:extLst>
          </p:cNvPr>
          <p:cNvSpPr/>
          <p:nvPr userDrawn="1"/>
        </p:nvSpPr>
        <p:spPr>
          <a:xfrm>
            <a:off x="6459538" y="4327525"/>
            <a:ext cx="258762" cy="1889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5" name="Shape 4487">
            <a:extLst>
              <a:ext uri="{FF2B5EF4-FFF2-40B4-BE49-F238E27FC236}">
                <a16:creationId xmlns:a16="http://schemas.microsoft.com/office/drawing/2014/main" id="{BFFA57F4-B46A-468E-8510-D34D5CA4C838}"/>
              </a:ext>
            </a:extLst>
          </p:cNvPr>
          <p:cNvSpPr/>
          <p:nvPr userDrawn="1"/>
        </p:nvSpPr>
        <p:spPr>
          <a:xfrm>
            <a:off x="6472238" y="4649788"/>
            <a:ext cx="233362" cy="2333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9EA6EC03-3240-4BFE-903B-9086AD70165B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F81876B-557E-4354-8218-FCBE24F07794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3BB499B-4497-4065-B84B-F9EE5CE40848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3924300"/>
            <a:ext cx="5816600" cy="2933700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1821022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22929" y="3461163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822929" y="3839451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6822928" y="4216669"/>
            <a:ext cx="3445783" cy="2890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6822929" y="4594957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790891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529739E2-7CDD-40D9-96A6-417CEDE8F6C7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CECA666-B8C5-4AEF-93E3-545D268BAA01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1A035CC-66C9-46CB-B021-D95C80A56570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DDBC90A-5FB6-4B5A-99D9-86323AC16DC9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59824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BC6F4D39-5A42-4613-A440-F7E76DAA9F23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3D44A1E9-BFAA-440C-99ED-7C7C0A81406D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4F793B2-2196-4E73-B5B0-943A768AE8CD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F5C86CD-3EDB-48B4-A50A-ADC3571F36C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arallelogram 7">
            <a:extLst>
              <a:ext uri="{FF2B5EF4-FFF2-40B4-BE49-F238E27FC236}">
                <a16:creationId xmlns:a16="http://schemas.microsoft.com/office/drawing/2014/main" id="{E585AA3C-A2DA-4664-B361-57779E76DFCA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651F49B-F3B8-4B9D-8977-F105C885E79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044A716-1F6E-45C3-830A-4792A7184B44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3E87D367-D3BD-49B4-98C3-062967494D8E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14565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>
            <a:extLst>
              <a:ext uri="{FF2B5EF4-FFF2-40B4-BE49-F238E27FC236}">
                <a16:creationId xmlns:a16="http://schemas.microsoft.com/office/drawing/2014/main" id="{212A9BDC-F2C2-4267-829C-A309AA2F61DC}"/>
              </a:ext>
            </a:extLst>
          </p:cNvPr>
          <p:cNvSpPr/>
          <p:nvPr userDrawn="1"/>
        </p:nvSpPr>
        <p:spPr>
          <a:xfrm flipH="1" flipV="1">
            <a:off x="2709863" y="0"/>
            <a:ext cx="9482137" cy="5046663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73C9363E-A254-4F77-A0E0-69999E2B6A15}"/>
              </a:ext>
            </a:extLst>
          </p:cNvPr>
          <p:cNvSpPr/>
          <p:nvPr userDrawn="1"/>
        </p:nvSpPr>
        <p:spPr>
          <a:xfrm flipH="1">
            <a:off x="3367088" y="0"/>
            <a:ext cx="3606800" cy="1171575"/>
          </a:xfrm>
          <a:prstGeom prst="parallelogram">
            <a:avLst>
              <a:gd name="adj" fmla="val 186380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06DDF9A-C58D-42CF-AB8B-11B0BDEC57A9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5046663"/>
            <a:ext cx="1524000" cy="1803400"/>
          </a:xfrm>
          <a:prstGeom prst="line">
            <a:avLst/>
          </a:prstGeom>
          <a:ln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3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604000" y="0"/>
            <a:ext cx="5588000" cy="6872249"/>
          </a:xfrm>
          <a:custGeom>
            <a:avLst/>
            <a:gdLst>
              <a:gd name="connsiteX0" fmla="*/ 3876237 w 5588000"/>
              <a:gd name="connsiteY0" fmla="*/ 5431883 h 6872249"/>
              <a:gd name="connsiteX1" fmla="*/ 4953000 w 5588000"/>
              <a:gd name="connsiteY1" fmla="*/ 5431883 h 6872249"/>
              <a:gd name="connsiteX2" fmla="*/ 3769163 w 5588000"/>
              <a:gd name="connsiteY2" fmla="*/ 6872249 h 6872249"/>
              <a:gd name="connsiteX3" fmla="*/ 2692400 w 5588000"/>
              <a:gd name="connsiteY3" fmla="*/ 6872249 h 6872249"/>
              <a:gd name="connsiteX4" fmla="*/ 2479230 w 5588000"/>
              <a:gd name="connsiteY4" fmla="*/ 2870200 h 6872249"/>
              <a:gd name="connsiteX5" fmla="*/ 3175000 w 5588000"/>
              <a:gd name="connsiteY5" fmla="*/ 2870200 h 6872249"/>
              <a:gd name="connsiteX6" fmla="*/ 1965770 w 5588000"/>
              <a:gd name="connsiteY6" fmla="*/ 4310566 h 6872249"/>
              <a:gd name="connsiteX7" fmla="*/ 1270000 w 5588000"/>
              <a:gd name="connsiteY7" fmla="*/ 4310566 h 6872249"/>
              <a:gd name="connsiteX8" fmla="*/ 5575300 w 5588000"/>
              <a:gd name="connsiteY8" fmla="*/ 139700 h 6872249"/>
              <a:gd name="connsiteX9" fmla="*/ 5575300 w 5588000"/>
              <a:gd name="connsiteY9" fmla="*/ 3238583 h 6872249"/>
              <a:gd name="connsiteX10" fmla="*/ 2571663 w 5588000"/>
              <a:gd name="connsiteY10" fmla="*/ 6858000 h 6872249"/>
              <a:gd name="connsiteX11" fmla="*/ 0 w 5588000"/>
              <a:gd name="connsiteY11" fmla="*/ 6858000 h 6872249"/>
              <a:gd name="connsiteX12" fmla="*/ 4256761 w 5588000"/>
              <a:gd name="connsiteY12" fmla="*/ 0 h 6872249"/>
              <a:gd name="connsiteX13" fmla="*/ 5588000 w 5588000"/>
              <a:gd name="connsiteY13" fmla="*/ 0 h 6872249"/>
              <a:gd name="connsiteX14" fmla="*/ 3274339 w 5588000"/>
              <a:gd name="connsiteY14" fmla="*/ 2755900 h 6872249"/>
              <a:gd name="connsiteX15" fmla="*/ 1943100 w 5588000"/>
              <a:gd name="connsiteY15" fmla="*/ 2755900 h 6872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88000" h="6872249">
                <a:moveTo>
                  <a:pt x="3876237" y="5431883"/>
                </a:moveTo>
                <a:lnTo>
                  <a:pt x="4953000" y="5431883"/>
                </a:lnTo>
                <a:lnTo>
                  <a:pt x="3769163" y="6872249"/>
                </a:lnTo>
                <a:lnTo>
                  <a:pt x="2692400" y="6872249"/>
                </a:lnTo>
                <a:close/>
                <a:moveTo>
                  <a:pt x="2479230" y="2870200"/>
                </a:moveTo>
                <a:lnTo>
                  <a:pt x="3175000" y="2870200"/>
                </a:lnTo>
                <a:lnTo>
                  <a:pt x="1965770" y="4310566"/>
                </a:lnTo>
                <a:lnTo>
                  <a:pt x="1270000" y="4310566"/>
                </a:lnTo>
                <a:close/>
                <a:moveTo>
                  <a:pt x="5575300" y="139700"/>
                </a:moveTo>
                <a:lnTo>
                  <a:pt x="5575300" y="3238583"/>
                </a:lnTo>
                <a:lnTo>
                  <a:pt x="2571663" y="6858000"/>
                </a:lnTo>
                <a:lnTo>
                  <a:pt x="0" y="6858000"/>
                </a:lnTo>
                <a:close/>
                <a:moveTo>
                  <a:pt x="4256761" y="0"/>
                </a:moveTo>
                <a:lnTo>
                  <a:pt x="5588000" y="0"/>
                </a:lnTo>
                <a:lnTo>
                  <a:pt x="3274339" y="2755900"/>
                </a:lnTo>
                <a:lnTo>
                  <a:pt x="1943100" y="2755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C96E40C6-261A-45B3-826E-E4278438DE7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DAEFDF6-5134-4962-A4BA-D82F2573102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029A5C-AA68-4965-B373-3734E9DE74E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8073173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F22C077-F5C2-4BEC-A858-7D28FA408A78}"/>
              </a:ext>
            </a:extLst>
          </p:cNvPr>
          <p:cNvGrpSpPr/>
          <p:nvPr userDrawn="1"/>
        </p:nvGrpSpPr>
        <p:grpSpPr>
          <a:xfrm flipH="1">
            <a:off x="7561328" y="0"/>
            <a:ext cx="4840632" cy="3541007"/>
            <a:chOff x="-200919" y="-2"/>
            <a:chExt cx="4840632" cy="3367272"/>
          </a:xfrm>
          <a:solidFill>
            <a:schemeClr val="bg1">
              <a:lumMod val="85000"/>
            </a:schemeClr>
          </a:solidFill>
        </p:grpSpPr>
        <p:sp>
          <p:nvSpPr>
            <p:cNvPr id="5" name="Diagonal Stripe 4">
              <a:extLst>
                <a:ext uri="{FF2B5EF4-FFF2-40B4-BE49-F238E27FC236}">
                  <a16:creationId xmlns:a16="http://schemas.microsoft.com/office/drawing/2014/main" id="{0E00A484-E419-4B69-A11F-B25180478520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48CCF5B-F8B3-4E4A-BC40-A3CC9B76CB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A21F7697-41FB-40DC-973D-DE1BC18AA111}"/>
                </a:ext>
              </a:extLst>
            </p:cNvPr>
            <p:cNvSpPr/>
            <p:nvPr/>
          </p:nvSpPr>
          <p:spPr>
            <a:xfrm rot="19340935">
              <a:off x="-200919" y="1140864"/>
              <a:ext cx="1354398" cy="214994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E7693084-24CE-4F75-B6D7-EB3A32FE70CE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"/>
          </p:nvPr>
        </p:nvSpPr>
        <p:spPr>
          <a:xfrm>
            <a:off x="518678" y="1671924"/>
            <a:ext cx="10835122" cy="450503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7C264062-7966-4C14-A272-07B899E90F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03998777-8C19-4A65-B4DB-E012E96F57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7C2BB20-774F-4B8D-8D40-E82AE2F27CA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274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>
            <a:extLst>
              <a:ext uri="{FF2B5EF4-FFF2-40B4-BE49-F238E27FC236}">
                <a16:creationId xmlns:a16="http://schemas.microsoft.com/office/drawing/2014/main" id="{15A78023-6584-4480-9D72-45D44D87B01A}"/>
              </a:ext>
            </a:extLst>
          </p:cNvPr>
          <p:cNvGrpSpPr>
            <a:grpSpLocks/>
          </p:cNvGrpSpPr>
          <p:nvPr userDrawn="1"/>
        </p:nvGrpSpPr>
        <p:grpSpPr bwMode="auto">
          <a:xfrm flipH="1">
            <a:off x="7561263" y="0"/>
            <a:ext cx="4832350" cy="3541713"/>
            <a:chOff x="-192127" y="-2"/>
            <a:chExt cx="4831840" cy="3367272"/>
          </a:xfrm>
        </p:grpSpPr>
        <p:sp>
          <p:nvSpPr>
            <p:cNvPr id="3" name="Diagonal Stripe 2">
              <a:extLst>
                <a:ext uri="{FF2B5EF4-FFF2-40B4-BE49-F238E27FC236}">
                  <a16:creationId xmlns:a16="http://schemas.microsoft.com/office/drawing/2014/main" id="{4F2318C7-CD15-43FA-8752-3330B5563A2D}"/>
                </a:ext>
              </a:extLst>
            </p:cNvPr>
            <p:cNvSpPr/>
            <p:nvPr userDrawn="1"/>
          </p:nvSpPr>
          <p:spPr>
            <a:xfrm>
              <a:off x="-59" y="-2"/>
              <a:ext cx="4639772" cy="3367272"/>
            </a:xfrm>
            <a:prstGeom prst="diagStripe">
              <a:avLst>
                <a:gd name="adj" fmla="val 51202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9D9DBA7B-CF6F-4922-9FFA-B3B8B3AC9AA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433301" y="-2"/>
              <a:ext cx="1241294" cy="916152"/>
            </a:xfrm>
            <a:prstGeom prst="line">
              <a:avLst/>
            </a:prstGeom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588F356E-7062-4D24-9BEB-23D0E53AF854}"/>
                </a:ext>
              </a:extLst>
            </p:cNvPr>
            <p:cNvSpPr/>
            <p:nvPr userDrawn="1"/>
          </p:nvSpPr>
          <p:spPr>
            <a:xfrm rot="19421162">
              <a:off x="-192127" y="1141037"/>
              <a:ext cx="1353995" cy="214322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6" name="Parallelogram 5">
            <a:extLst>
              <a:ext uri="{FF2B5EF4-FFF2-40B4-BE49-F238E27FC236}">
                <a16:creationId xmlns:a16="http://schemas.microsoft.com/office/drawing/2014/main" id="{205DC664-756B-40CB-BB91-613CC5BD61CD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5B750CCD-2DE4-4B46-A657-B2B04E96411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F33A136-33A2-4C58-B80F-A79CC0849F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4665023-AE77-46E6-B553-DBB992C5C1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28604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BCC4BF7-E260-4343-94B9-3A4807FD286B}"/>
              </a:ext>
            </a:extLst>
          </p:cNvPr>
          <p:cNvGrpSpPr/>
          <p:nvPr userDrawn="1"/>
        </p:nvGrpSpPr>
        <p:grpSpPr>
          <a:xfrm flipH="1">
            <a:off x="7561328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4" name="Diagonal Stripe 3">
              <a:extLst>
                <a:ext uri="{FF2B5EF4-FFF2-40B4-BE49-F238E27FC236}">
                  <a16:creationId xmlns:a16="http://schemas.microsoft.com/office/drawing/2014/main" id="{B5172F52-1B08-4F13-8B13-53C3DD46384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92765506-E6B4-4423-893C-1E855C8A2A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CFD0E567-0DC7-47D6-8BFC-EA0C9D6A2710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7" name="Parallelogram 6">
            <a:extLst>
              <a:ext uri="{FF2B5EF4-FFF2-40B4-BE49-F238E27FC236}">
                <a16:creationId xmlns:a16="http://schemas.microsoft.com/office/drawing/2014/main" id="{F6B79687-4727-4249-AF60-8D11D5DCEB58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3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C797181-F8E0-4868-BCDC-2F86B66869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E948DCC1-4550-4431-B213-F92051378D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9FD5826-C55D-41B1-812A-A1B17D0896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5740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260A19-EB33-5B47-AA38-0724F7129A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C2EEC55-9275-0548-9BDE-A98618C8D8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182E7F-3749-4341-AA8A-86F6F0D316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C9425-2234-4337-83A8-2BCA40686C90}" type="datetime1">
              <a:rPr lang="en-US" smtClean="0"/>
              <a:t>12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582AEC-86A5-D844-BBED-C577974EC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674A7D-F3CF-F443-AC80-C2EAE0561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071284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E5E44E-DE65-BD4A-AD6A-912E70E65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587F1C-78E6-4C46-8379-0AF7269CE8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2A5B83-6083-F748-9509-BFA4FB2242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02DCA7-D6C9-4108-9674-CE34EAF39A52}" type="datetime1">
              <a:rPr lang="en-US" smtClean="0"/>
              <a:t>12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6CD984-C170-364A-8061-1622AB2C64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94B1B0-0BD6-454C-9764-2708FD273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25921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D8ECE3-3AB9-8549-BFAC-7BDEC26165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E3810F-D8D2-9345-B4D8-67FD4EC4D7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1F8C31-310B-F44D-B241-92F0C6DB6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ECD11-B72E-45D9-9452-B04AC712C969}" type="datetime1">
              <a:rPr lang="en-US" smtClean="0"/>
              <a:t>12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139BBB-78D6-2148-AE92-1626A9D78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6403E9-398A-584B-A36E-DB5F0FF41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972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3DF1B4-6A5B-EE48-A161-B7D7317D4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AB5B09-4B25-C941-B651-BAEB7912543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31D0C27-E88A-6344-A1BC-C38CA00FEB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4066F6-CD65-7C4E-9BE9-DD2E6A2D30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5B0FF9-0FA4-4C1C-8F36-081020902CF9}" type="datetime1">
              <a:rPr lang="en-US" smtClean="0"/>
              <a:t>12/2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CB48E9-270D-174B-B7D7-1B942194DA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C57802-4307-024D-84FE-8EC7B33F91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156936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86DFF8-4F5D-0447-9530-6945A7DF1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E76C8C-1DF1-F940-8AC4-ED27353835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FD699E-594C-C84D-B1FE-6D15A3DFCE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AEF75B4-8002-B748-849E-914832A05C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817E6E-B0A7-AF40-8211-B7854AF00CC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57CFC29-7D31-BF4F-B05B-75DC874E2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750A7B-F58A-4119-9DB7-BF10F0C3745A}" type="datetime1">
              <a:rPr lang="en-US" smtClean="0"/>
              <a:t>12/21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221A41D-F441-9646-A2BD-86C236BAC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6371AC4-4D21-344C-8EC5-98CD2B526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287292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132520-F605-7843-A767-9F3C0BFAE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68447BB-FC85-8445-8068-138DD5634A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FE7734-399F-41D2-953C-DC1C65624066}" type="datetime1">
              <a:rPr lang="en-US" smtClean="0"/>
              <a:t>12/21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E691AB-F8AE-824B-825B-FF2C6E9EF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509246-C5E1-164F-8E35-36AE58C74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40425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4C98ACA-C8CA-1341-8A52-DC61CFF871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EC3DD-91A9-4EC3-934B-3458A79E087C}" type="datetime1">
              <a:rPr lang="en-US" smtClean="0"/>
              <a:t>12/21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91C092-BACC-8740-B71A-D664C2C4D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0464C1-568A-0048-96B9-FA74C2117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51975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62B474F-A7F3-4EB7-853B-56B286453377}"/>
              </a:ext>
            </a:extLst>
          </p:cNvPr>
          <p:cNvCxnSpPr>
            <a:cxnSpLocks/>
          </p:cNvCxnSpPr>
          <p:nvPr userDrawn="1"/>
        </p:nvCxnSpPr>
        <p:spPr>
          <a:xfrm flipV="1">
            <a:off x="10352088" y="1185863"/>
            <a:ext cx="1839912" cy="1633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6170177" y="1435100"/>
            <a:ext cx="6021821" cy="5422900"/>
          </a:xfrm>
          <a:custGeom>
            <a:avLst/>
            <a:gdLst>
              <a:gd name="connsiteX0" fmla="*/ 6021821 w 6021821"/>
              <a:gd name="connsiteY0" fmla="*/ 0 h 5422900"/>
              <a:gd name="connsiteX1" fmla="*/ 6021821 w 6021821"/>
              <a:gd name="connsiteY1" fmla="*/ 5422900 h 5422900"/>
              <a:gd name="connsiteX2" fmla="*/ 0 w 6021821"/>
              <a:gd name="connsiteY2" fmla="*/ 5422900 h 542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1821" h="5422900">
                <a:moveTo>
                  <a:pt x="6021821" y="0"/>
                </a:moveTo>
                <a:lnTo>
                  <a:pt x="6021821" y="5422900"/>
                </a:lnTo>
                <a:lnTo>
                  <a:pt x="0" y="5422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rIns="365760" anchor="ctr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2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47637C30-FCDA-4071-B661-900A99BEF65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AEFC5E06-9E83-45A5-899A-38844A81FF5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4D6332-11CD-4B0D-8E61-97F05DD000C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432515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620CA-9716-E34E-B24F-6F3C15E64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8FD6DB-B85B-4949-A7A4-33BE0EB09A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E38D8-00CD-E942-8B7B-103E7FDBAF4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1A6466-FF03-6543-B9F5-70724B11CF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19D45-DDB9-45F7-A7CC-2B572801A2E2}" type="datetime1">
              <a:rPr lang="en-US" smtClean="0"/>
              <a:t>12/2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A300DE-4E71-754A-A0A2-94BE94B77A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90D482F-1BFC-7F4C-8AE9-5FE4658F3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95714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0088F-BBEC-0F4C-BB4A-AC617F023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7D37FD3-E518-7A43-8FE1-A4CADAF74F9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8DEE87-0C25-2E40-AC2E-0E78A0AFDB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D0C433-0542-1342-AC73-7EAEC7D96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D8AE04-174D-46D3-9D33-F6399E3E6BC9}" type="datetime1">
              <a:rPr lang="en-US" smtClean="0"/>
              <a:t>12/21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8637A2-D0E2-0B45-882F-46F2FC06F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4C0748-F7C5-1543-BF4B-EE26F3087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598350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0E1153-6726-0643-A043-2379E41D3E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19514D3-0EDA-8B4F-93DE-4A1789A557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367B16-C154-A64D-8F29-1FE70B4203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7BDEF0-E09C-4EC7-ACEF-B7D58F73B4E2}" type="datetime1">
              <a:rPr lang="en-US" smtClean="0"/>
              <a:t>12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9E2370-BEFC-A340-83BD-5AFE1462C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7BE8A2-2A7B-D942-A2C2-2E85ADDABB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85317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3092095-49C0-734E-A247-DEEEE415C4D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7313638-6A13-094C-B635-32CA53272B7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2558F3-4768-7D46-B545-8C092D7029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A4B5F-141C-4CB0-8325-F048CE0EF8F9}" type="datetime1">
              <a:rPr lang="en-US" smtClean="0"/>
              <a:t>12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81982D-6AE7-D349-B8A3-FCE2B7A9C7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35246B-AD71-FD40-89B0-DB46C13D7B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4436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i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BF809E07-9438-493B-84DC-9A3D52C5632F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9" name="Diagonal Stripe 8">
              <a:extLst>
                <a:ext uri="{FF2B5EF4-FFF2-40B4-BE49-F238E27FC236}">
                  <a16:creationId xmlns:a16="http://schemas.microsoft.com/office/drawing/2014/main" id="{E8A741BE-D973-462A-B31F-D1119410DD74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EE562DF-D932-444A-891D-E1B5988E6A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F0C9219B-F30F-4D94-AF5D-7299FE990275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F7718AF8-03E4-4E11-BA70-060AB602B755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520698" y="2104888"/>
            <a:ext cx="547529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ontent Placeholder 3" title="Bullet Points"/>
          <p:cNvSpPr>
            <a:spLocks noGrp="1"/>
          </p:cNvSpPr>
          <p:nvPr>
            <p:ph sz="half" idx="13"/>
          </p:nvPr>
        </p:nvSpPr>
        <p:spPr>
          <a:xfrm>
            <a:off x="520698" y="2886076"/>
            <a:ext cx="547529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186713" y="2104888"/>
            <a:ext cx="547560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ontent Placeholder 5" title="Bullet Points"/>
          <p:cNvSpPr>
            <a:spLocks noGrp="1"/>
          </p:cNvSpPr>
          <p:nvPr>
            <p:ph sz="quarter" idx="15"/>
          </p:nvPr>
        </p:nvSpPr>
        <p:spPr>
          <a:xfrm>
            <a:off x="6186713" y="2886076"/>
            <a:ext cx="547560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52E00C1A-7F45-4B84-84C4-D661FE2283D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74B7D399-B7E4-4631-9F17-DDA042F3198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F2BC4F-1CA7-41F0-9E90-DAF11B3BD7C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564867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4F8CC69-6E79-4D54-AC3C-6D5A31C585A4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7" name="Diagonal Stripe 6">
              <a:extLst>
                <a:ext uri="{FF2B5EF4-FFF2-40B4-BE49-F238E27FC236}">
                  <a16:creationId xmlns:a16="http://schemas.microsoft.com/office/drawing/2014/main" id="{53101BE0-1560-4741-B5DE-0A265398C6B5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74EB59D7-551D-4C17-9DC6-286C9E4A68B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283C0A34-849E-4E11-99AF-456853FA8920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CCBAAC6D-5C29-48D7-85BE-981BAEF2C133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531814" y="2005762"/>
            <a:ext cx="5225764" cy="4083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hart Placeholder 2" title="Chart"/>
          <p:cNvSpPr>
            <a:spLocks noGrp="1"/>
          </p:cNvSpPr>
          <p:nvPr>
            <p:ph type="chart" sz="quarter" idx="10"/>
          </p:nvPr>
        </p:nvSpPr>
        <p:spPr>
          <a:xfrm>
            <a:off x="5796114" y="2005762"/>
            <a:ext cx="5719397" cy="408447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DD983BA3-455C-424A-A78D-0676A7567CA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97B40409-9726-4941-BBE6-35EEA4756CF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35A046-9AE0-4777-A9FB-A17C25C310F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748753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5BA3DBB-C8E3-4563-9224-B54539726D33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BB4DEC6F-E40C-4ACB-A05E-6971CA60F229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EEB62C46-8E6C-4DFF-867E-2269594BBF1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A7F6E8C-4378-49F6-923A-E6F4DD9BC14D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AC03FA4F-714E-4DC2-A142-67931D44E5EB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5" name="Table Placeholder 11" title="Table"/>
          <p:cNvSpPr>
            <a:spLocks noGrp="1"/>
          </p:cNvSpPr>
          <p:nvPr>
            <p:ph type="tbl" sz="quarter" idx="12"/>
          </p:nvPr>
        </p:nvSpPr>
        <p:spPr>
          <a:xfrm>
            <a:off x="531378" y="2664803"/>
            <a:ext cx="10993375" cy="34331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37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43A8D108-CAA5-4662-903C-8055B80EEB9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1679B1CB-81A4-4356-BE47-C9C7C3669C0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1B4081-CD93-4EAC-AFA6-C7C60174FC0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84842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BE0EFE75-2EF4-460E-ACE8-B524801CC739}"/>
              </a:ext>
            </a:extLst>
          </p:cNvPr>
          <p:cNvSpPr/>
          <p:nvPr userDrawn="1"/>
        </p:nvSpPr>
        <p:spPr>
          <a:xfrm flipV="1">
            <a:off x="0" y="0"/>
            <a:ext cx="10810875" cy="5999163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176F060-E2EE-446B-A919-D16FA988942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5345113"/>
            <a:ext cx="2362200" cy="1241425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31" title="Image"/>
          <p:cNvSpPr>
            <a:spLocks noGrp="1"/>
          </p:cNvSpPr>
          <p:nvPr>
            <p:ph type="pic" sz="quarter" idx="13"/>
          </p:nvPr>
        </p:nvSpPr>
        <p:spPr>
          <a:xfrm>
            <a:off x="359229" y="326570"/>
            <a:ext cx="11473542" cy="620485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anchor="ctr"/>
          <a:lstStyle>
            <a:lvl1pPr marL="0" indent="0" algn="ctr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itle 1" title="Title "/>
          <p:cNvSpPr>
            <a:spLocks noGrp="1"/>
          </p:cNvSpPr>
          <p:nvPr>
            <p:ph type="title"/>
          </p:nvPr>
        </p:nvSpPr>
        <p:spPr>
          <a:xfrm>
            <a:off x="359229" y="558802"/>
            <a:ext cx="8333222" cy="939798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88000" anchor="ctr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69055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4157">
            <a:extLst>
              <a:ext uri="{FF2B5EF4-FFF2-40B4-BE49-F238E27FC236}">
                <a16:creationId xmlns:a16="http://schemas.microsoft.com/office/drawing/2014/main" id="{AF235C6A-29ED-4073-B106-C3E1F76DECDE}"/>
              </a:ext>
            </a:extLst>
          </p:cNvPr>
          <p:cNvSpPr/>
          <p:nvPr userDrawn="1"/>
        </p:nvSpPr>
        <p:spPr>
          <a:xfrm>
            <a:off x="6459538" y="3505200"/>
            <a:ext cx="258762" cy="258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2" name="Shape 4186">
            <a:extLst>
              <a:ext uri="{FF2B5EF4-FFF2-40B4-BE49-F238E27FC236}">
                <a16:creationId xmlns:a16="http://schemas.microsoft.com/office/drawing/2014/main" id="{644C4386-1E8C-466E-8DAF-2906658ECD00}"/>
              </a:ext>
            </a:extLst>
          </p:cNvPr>
          <p:cNvSpPr/>
          <p:nvPr userDrawn="1"/>
        </p:nvSpPr>
        <p:spPr>
          <a:xfrm>
            <a:off x="6507163" y="3897313"/>
            <a:ext cx="161925" cy="2968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4" name="Shape 4379">
            <a:extLst>
              <a:ext uri="{FF2B5EF4-FFF2-40B4-BE49-F238E27FC236}">
                <a16:creationId xmlns:a16="http://schemas.microsoft.com/office/drawing/2014/main" id="{5B1521C3-EF31-4250-A334-B11D8C371C86}"/>
              </a:ext>
            </a:extLst>
          </p:cNvPr>
          <p:cNvSpPr/>
          <p:nvPr userDrawn="1"/>
        </p:nvSpPr>
        <p:spPr>
          <a:xfrm>
            <a:off x="6459538" y="4327525"/>
            <a:ext cx="258762" cy="1889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5" name="Shape 4487">
            <a:extLst>
              <a:ext uri="{FF2B5EF4-FFF2-40B4-BE49-F238E27FC236}">
                <a16:creationId xmlns:a16="http://schemas.microsoft.com/office/drawing/2014/main" id="{1CA615DE-5DF8-48C3-81F3-6E1F11167B25}"/>
              </a:ext>
            </a:extLst>
          </p:cNvPr>
          <p:cNvSpPr/>
          <p:nvPr userDrawn="1"/>
        </p:nvSpPr>
        <p:spPr>
          <a:xfrm>
            <a:off x="6472238" y="4649788"/>
            <a:ext cx="233362" cy="2333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D160F2B3-A959-4ACD-952B-D0630BBF9F01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18588D5-A129-41D2-8D59-2491405053A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F8AE294-7FFA-458A-B625-5527BB4A488A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3924300"/>
            <a:ext cx="5816600" cy="2933700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1821022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22929" y="3461163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822929" y="3839451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6822928" y="4216669"/>
            <a:ext cx="3445783" cy="2890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6822929" y="4594957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15320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4B42DE-ECE9-486A-8780-F04A9C997E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C55BC7-FC64-4E9A-A9BB-533D4E045F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7425" y="6356350"/>
            <a:ext cx="739775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76530178-0652-427E-A8A3-856E4450533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4100" name="Title Placeholder 8">
            <a:extLst>
              <a:ext uri="{FF2B5EF4-FFF2-40B4-BE49-F238E27FC236}">
                <a16:creationId xmlns:a16="http://schemas.microsoft.com/office/drawing/2014/main" id="{1A88BE4F-E373-44DE-AA19-99F734F2247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19113" y="209550"/>
            <a:ext cx="10834687" cy="1147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1320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</p:sldLayoutIdLst>
  <p:hf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IN" sz="4400" b="1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2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IN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F02CAA2-0EFA-4F4A-8AC1-8524C680A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ABAAF8-6423-7F42-BE4B-D78180EBB5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7BC6DB-502C-F442-984F-952AC16328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B872DE-0E22-48E5-8A00-D268608FD87F}" type="datetime1">
              <a:rPr lang="en-US" smtClean="0"/>
              <a:t>12/2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000755-CEAA-CA43-9FB4-D13CAB0FD6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7C95F0-BA3B-864C-96C3-F7C5D7501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0269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tiff"/><Relationship Id="rId1" Type="http://schemas.openxmlformats.org/officeDocument/2006/relationships/slideLayout" Target="../slideLayouts/slideLayout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258" name="Picture 5">
            <a:extLst>
              <a:ext uri="{FF2B5EF4-FFF2-40B4-BE49-F238E27FC236}">
                <a16:creationId xmlns:a16="http://schemas.microsoft.com/office/drawing/2014/main" id="{96575726-AB8D-477B-925E-64A6B439C3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175" y="1103313"/>
            <a:ext cx="4122738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9" name="Text Placeholder 5">
            <a:extLst>
              <a:ext uri="{FF2B5EF4-FFF2-40B4-BE49-F238E27FC236}">
                <a16:creationId xmlns:a16="http://schemas.microsoft.com/office/drawing/2014/main" id="{91DC8B7A-0AAE-4FA8-9FD4-DC99714286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63990" y="3839991"/>
            <a:ext cx="9256235" cy="1099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6858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r>
              <a:rPr kumimoji="0" lang="en-US" alt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13.0 Loading Unit Tramming Characteristics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r>
              <a:rPr lang="en-US" altLang="en-US" sz="2000" dirty="0" err="1">
                <a:solidFill>
                  <a:srgbClr val="3F3F3F"/>
                </a:solidFill>
                <a:latin typeface="Calibri" panose="020F0502020204030204" pitchFamily="34" charset="0"/>
              </a:rPr>
              <a:t>Ve</a:t>
            </a:r>
            <a:r>
              <a:rPr kumimoji="0" lang="en-US" alt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rsion</a:t>
            </a: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 October 2020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endParaRPr kumimoji="0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96260" name="Picture 19">
            <a:extLst>
              <a:ext uri="{FF2B5EF4-FFF2-40B4-BE49-F238E27FC236}">
                <a16:creationId xmlns:a16="http://schemas.microsoft.com/office/drawing/2014/main" id="{FA3DD556-8C06-4FDE-86A1-37870B7BF4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39" t="44743" r="7394" b="38982"/>
          <a:stretch>
            <a:fillRect/>
          </a:stretch>
        </p:blipFill>
        <p:spPr bwMode="auto">
          <a:xfrm>
            <a:off x="6452075" y="6273502"/>
            <a:ext cx="167005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1" name="Picture 16">
            <a:extLst>
              <a:ext uri="{FF2B5EF4-FFF2-40B4-BE49-F238E27FC236}">
                <a16:creationId xmlns:a16="http://schemas.microsoft.com/office/drawing/2014/main" id="{F4510B1D-3E19-4924-A455-F57C8A7702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3118" y="6278265"/>
            <a:ext cx="811213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2" name="Picture 12">
            <a:extLst>
              <a:ext uri="{FF2B5EF4-FFF2-40B4-BE49-F238E27FC236}">
                <a16:creationId xmlns:a16="http://schemas.microsoft.com/office/drawing/2014/main" id="{E9107983-AEB7-4105-AF55-43DF2814AE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0146" y="6271914"/>
            <a:ext cx="1504950" cy="325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3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B780F427-DAAA-458C-8F91-BB376DD865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4896" y="6156027"/>
            <a:ext cx="1990725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4" name="Picture 15">
            <a:extLst>
              <a:ext uri="{FF2B5EF4-FFF2-40B4-BE49-F238E27FC236}">
                <a16:creationId xmlns:a16="http://schemas.microsoft.com/office/drawing/2014/main" id="{CBD8023F-3D9B-4D6C-90EA-0BA073DC4F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13" y="6079827"/>
            <a:ext cx="1541462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5" name="Picture 10" descr="A picture containing clock, sign&#10;&#10;Description automatically generated">
            <a:extLst>
              <a:ext uri="{FF2B5EF4-FFF2-40B4-BE49-F238E27FC236}">
                <a16:creationId xmlns:a16="http://schemas.microsoft.com/office/drawing/2014/main" id="{73ADDEBA-4735-4802-A4A7-0E60B68D18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642" y="6305252"/>
            <a:ext cx="760412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">
            <a:extLst>
              <a:ext uri="{FF2B5EF4-FFF2-40B4-BE49-F238E27FC236}">
                <a16:creationId xmlns:a16="http://schemas.microsoft.com/office/drawing/2014/main" id="{0C2C7FC1-0259-4290-B89E-6BB8A52FE5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08881" y="2319189"/>
            <a:ext cx="9774237" cy="125382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Vehicle Interaction Control Improvement Project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Vehicle Interaction Knowledge Hub Resource - </a:t>
            </a:r>
            <a:r>
              <a:rPr kumimoji="0" lang="en-AU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Story Board Series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1343328-5B38-4A53-B55D-7FCC053CF4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3401" y="209028"/>
            <a:ext cx="9101183" cy="1215566"/>
          </a:xfrm>
        </p:spPr>
        <p:txBody>
          <a:bodyPr>
            <a:normAutofit fontScale="90000"/>
          </a:bodyPr>
          <a:lstStyle/>
          <a:p>
            <a:r>
              <a:rPr lang="en-AU" dirty="0"/>
              <a:t>Adapting and Using EMESRT Story Boards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A5AD79E0-86DD-485A-B0CB-35369107F4D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46449" y="1500516"/>
            <a:ext cx="9619861" cy="514845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0" rIns="36000" bIns="36000"/>
          <a:lstStyle/>
          <a:p>
            <a:pPr defTabSz="914400" eaLnBrk="1" fontAlgn="auto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en-AU" sz="2000" b="1" kern="0" dirty="0">
                <a:latin typeface="Calibri" pitchFamily="34" charset="0"/>
                <a:cs typeface="Calibri" pitchFamily="34" charset="0"/>
              </a:rPr>
              <a:t>What are they? </a:t>
            </a:r>
          </a:p>
          <a:p>
            <a:pPr marL="207450" indent="-171450" defTabSz="91440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latin typeface="Calibri" pitchFamily="34" charset="0"/>
                <a:cs typeface="Calibri" pitchFamily="34" charset="0"/>
              </a:rPr>
              <a:t>The Story Board approach was developed by an EMESRT Member Company to assist with the specification and installation of Proximity Detection Systems (PDS) on mobile equipment at surface mines</a:t>
            </a:r>
          </a:p>
          <a:p>
            <a:pPr marL="207450" indent="-171450" defTabSz="91440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latin typeface="Calibri" pitchFamily="34" charset="0"/>
                <a:cs typeface="Calibri" pitchFamily="34" charset="0"/>
              </a:rPr>
              <a:t>They provide a visual and dynamic reference for equipment operators, PDS suppliers VI Control Improvement project managers as they implement VI intervention controls (EMESRT Levels 8–9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1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How can I use them?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Review each Story Board </a:t>
            </a:r>
            <a:r>
              <a:rPr lang="en-US" sz="2000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in presentation mode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As required, adapt the resource to your circumstances 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Use the Story Boards as a resource during </a:t>
            </a:r>
            <a:r>
              <a:rPr lang="en-US" sz="2000" i="1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Phase 4 - New Technology Implementation 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i="1" kern="0" dirty="0">
                <a:solidFill>
                  <a:srgbClr val="001100"/>
                </a:solidFill>
                <a:latin typeface="Calibri" pitchFamily="34" charset="0"/>
                <a:cs typeface="Calibri" pitchFamily="34" charset="0"/>
              </a:rPr>
              <a:t>Remember LO = Local Object and RO = Remote Object (reference EMERST PR5A)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000" i="1" kern="0" dirty="0">
              <a:solidFill>
                <a:srgbClr val="00110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3387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>
            <a:extLst>
              <a:ext uri="{FF2B5EF4-FFF2-40B4-BE49-F238E27FC236}">
                <a16:creationId xmlns:a16="http://schemas.microsoft.com/office/drawing/2014/main" id="{6EBF286B-4FE4-C54A-907A-A6EFB33676FF}"/>
              </a:ext>
            </a:extLst>
          </p:cNvPr>
          <p:cNvSpPr/>
          <p:nvPr/>
        </p:nvSpPr>
        <p:spPr>
          <a:xfrm>
            <a:off x="888184" y="314776"/>
            <a:ext cx="5098473" cy="5080000"/>
          </a:xfrm>
          <a:prstGeom prst="ellipse">
            <a:avLst/>
          </a:prstGeom>
          <a:solidFill>
            <a:schemeClr val="accent2">
              <a:lumMod val="20000"/>
              <a:lumOff val="80000"/>
              <a:alpha val="60000"/>
            </a:schemeClr>
          </a:solidFill>
          <a:ln w="15875">
            <a:solidFill>
              <a:schemeClr val="accent1"/>
            </a:solidFill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3073EDB-F43A-5848-A5F7-F9E661993D88}"/>
              </a:ext>
            </a:extLst>
          </p:cNvPr>
          <p:cNvGrpSpPr/>
          <p:nvPr/>
        </p:nvGrpSpPr>
        <p:grpSpPr>
          <a:xfrm>
            <a:off x="1386946" y="2225835"/>
            <a:ext cx="2863275" cy="1265382"/>
            <a:chOff x="2512289" y="2068946"/>
            <a:chExt cx="2863275" cy="1265382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B8712B57-6742-4C47-B8FF-6F5AC591A4E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512289" y="2219621"/>
              <a:ext cx="2739160" cy="956532"/>
            </a:xfrm>
            <a:prstGeom prst="rect">
              <a:avLst/>
            </a:prstGeom>
            <a:gradFill>
              <a:gsLst>
                <a:gs pos="4000">
                  <a:schemeClr val="accent1">
                    <a:lumMod val="5000"/>
                    <a:lumOff val="95000"/>
                  </a:schemeClr>
                </a:gs>
                <a:gs pos="15000">
                  <a:schemeClr val="accent1">
                    <a:lumMod val="45000"/>
                    <a:lumOff val="55000"/>
                  </a:schemeClr>
                </a:gs>
                <a:gs pos="40000">
                  <a:schemeClr val="accent1">
                    <a:lumMod val="45000"/>
                    <a:lumOff val="55000"/>
                    <a:alpha val="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4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accent1">
                      <a:lumMod val="45000"/>
                      <a:lumOff val="55000"/>
                    </a:schemeClr>
                  </a:gs>
                  <a:gs pos="100000">
                    <a:schemeClr val="accent1">
                      <a:lumMod val="30000"/>
                      <a:lumOff val="70000"/>
                    </a:schemeClr>
                  </a:gs>
                </a:gsLst>
                <a:lin ang="5400000" scaled="1"/>
              </a:gradFill>
            </a:ln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F7E5CDC-D32C-A441-AC5D-51A65DBB2625}"/>
                </a:ext>
              </a:extLst>
            </p:cNvPr>
            <p:cNvSpPr/>
            <p:nvPr/>
          </p:nvSpPr>
          <p:spPr>
            <a:xfrm>
              <a:off x="3731491" y="2068946"/>
              <a:ext cx="1644073" cy="1265382"/>
            </a:xfrm>
            <a:prstGeom prst="rect">
              <a:avLst/>
            </a:prstGeom>
            <a:solidFill>
              <a:srgbClr val="C00000">
                <a:alpha val="11000"/>
              </a:srgbClr>
            </a:solidFill>
            <a:ln>
              <a:solidFill>
                <a:srgbClr val="C00000">
                  <a:alpha val="95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57B2CA23-7C60-4148-BF78-803BBD28B4CF}"/>
              </a:ext>
            </a:extLst>
          </p:cNvPr>
          <p:cNvSpPr txBox="1"/>
          <p:nvPr/>
        </p:nvSpPr>
        <p:spPr>
          <a:xfrm>
            <a:off x="6673850" y="582842"/>
            <a:ext cx="492702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ameters whilst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mm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ofence deactivates @ speeds &gt;</a:t>
            </a: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ph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rmal CAS alarm logic restored @ speeds &gt;</a:t>
            </a: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ph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arm logic enabled for all equipment typ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B0376E4-F8CE-2846-A549-672D96712E14}"/>
              </a:ext>
            </a:extLst>
          </p:cNvPr>
          <p:cNvSpPr txBox="1"/>
          <p:nvPr/>
        </p:nvSpPr>
        <p:spPr>
          <a:xfrm>
            <a:off x="3472872" y="5871909"/>
            <a:ext cx="8128000" cy="58477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oading Unit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amming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Characteristic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C81AB88-3B85-8948-B60D-28A58234D71B}"/>
              </a:ext>
            </a:extLst>
          </p:cNvPr>
          <p:cNvSpPr/>
          <p:nvPr/>
        </p:nvSpPr>
        <p:spPr>
          <a:xfrm>
            <a:off x="2606147" y="2225835"/>
            <a:ext cx="1644073" cy="1265382"/>
          </a:xfrm>
          <a:prstGeom prst="rect">
            <a:avLst/>
          </a:prstGeom>
          <a:solidFill>
            <a:schemeClr val="accent4">
              <a:lumMod val="60000"/>
              <a:lumOff val="40000"/>
              <a:alpha val="11000"/>
            </a:schemeClr>
          </a:solidFill>
          <a:ln>
            <a:solidFill>
              <a:schemeClr val="accent4">
                <a:lumMod val="50000"/>
                <a:alpha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57791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Rot by="-2700000">
                                      <p:cBhvr>
                                        <p:cTn id="6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5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8" presetClass="emph" presetSubtype="0" fill="hold" grpId="4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700000">
                                      <p:cBhvr>
                                        <p:cTn id="10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700000">
                                      <p:cBhvr>
                                        <p:cTn id="12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-0.00047 L -0.09557 0.36041 " pathEditMode="relative" rAng="0" ptsTypes="AA">
                                      <p:cBhvr>
                                        <p:cTn id="16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779" y="18032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0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04167E-6 -3.7037E-6 L -0.15078 0.37153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539" y="18565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0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3.33333E-6 L -0.14779 0.3699 " pathEditMode="relative" rAng="0" ptsTypes="AA">
                                      <p:cBhvr>
                                        <p:cTn id="20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396" y="18495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4" dur="1000" fill="hold"/>
                                        <p:tgtEl>
                                          <p:spTgt spid="6"/>
                                        </p:tgtEl>
                                      </p:cBhvr>
                                      <p:by x="0" y="0"/>
                                    </p:animScale>
                                  </p:childTnLst>
                                </p:cTn>
                              </p:par>
                              <p:par>
                                <p:cTn id="25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6" dur="2000" fill="hold"/>
                                        <p:tgtEl>
                                          <p:spTgt spid="2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6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8" dur="2000" fill="hold"/>
                                        <p:tgtEl>
                                          <p:spTgt spid="23"/>
                                        </p:tgtEl>
                                      </p:cBhvr>
                                      <p:by x="15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6" grpId="2" animBg="1"/>
      <p:bldP spid="23" grpId="0" animBg="1"/>
      <p:bldP spid="23" grpId="1" animBg="1"/>
      <p:bldP spid="23" grpId="2" animBg="1"/>
      <p:bldP spid="23" grpId="3" animBg="1"/>
      <p:bldP spid="23" grpId="4" animBg="1"/>
      <p:bldP spid="23" grpId="5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u6Ris9mECUQjQ8ppo5SQ"/>
</p:tagLst>
</file>

<file path=ppt/theme/theme1.xml><?xml version="1.0" encoding="utf-8"?>
<a:theme xmlns:a="http://schemas.openxmlformats.org/drawingml/2006/main" name="2_Office Theme">
  <a:themeElements>
    <a:clrScheme name="Custom 14">
      <a:dk1>
        <a:srgbClr val="3F3F3F"/>
      </a:dk1>
      <a:lt1>
        <a:srgbClr val="FFFFFF"/>
      </a:lt1>
      <a:dk2>
        <a:srgbClr val="F2F2F2"/>
      </a:dk2>
      <a:lt2>
        <a:srgbClr val="A5A5A5"/>
      </a:lt2>
      <a:accent1>
        <a:srgbClr val="00194C"/>
      </a:accent1>
      <a:accent2>
        <a:srgbClr val="EAB200"/>
      </a:accent2>
      <a:accent3>
        <a:srgbClr val="F2F2F2"/>
      </a:accent3>
      <a:accent4>
        <a:srgbClr val="954F72"/>
      </a:accent4>
      <a:accent5>
        <a:srgbClr val="00843B"/>
      </a:accent5>
      <a:accent6>
        <a:srgbClr val="014067"/>
      </a:accent6>
      <a:hlink>
        <a:srgbClr val="00194C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F00951641_Hexagon presentation light_AAS_v4" id="{358289A0-A26B-433F-AD2B-1F8832C96153}" vid="{92CDC91D-95BF-4897-87D6-494563DF797D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6</TotalTime>
  <Words>174</Words>
  <Application>Microsoft Office PowerPoint</Application>
  <PresentationFormat>Widescreen</PresentationFormat>
  <Paragraphs>18</Paragraphs>
  <Slides>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Arial</vt:lpstr>
      <vt:lpstr>Calibri</vt:lpstr>
      <vt:lpstr>Calibri Light</vt:lpstr>
      <vt:lpstr>Gill Sans SemiBold</vt:lpstr>
      <vt:lpstr>Montserrat</vt:lpstr>
      <vt:lpstr>Montserrat Medium</vt:lpstr>
      <vt:lpstr>Times New Roman</vt:lpstr>
      <vt:lpstr>2_Office Theme</vt:lpstr>
      <vt:lpstr>1_Office Theme</vt:lpstr>
      <vt:lpstr>PowerPoint Presentation</vt:lpstr>
      <vt:lpstr>Adapting and Using EMESRT Story Board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ESRT</dc:creator>
  <cp:lastModifiedBy>Mike Boyle</cp:lastModifiedBy>
  <cp:revision>22</cp:revision>
  <dcterms:created xsi:type="dcterms:W3CDTF">2020-10-07T22:58:51Z</dcterms:created>
  <dcterms:modified xsi:type="dcterms:W3CDTF">2020-12-21T06:09:47Z</dcterms:modified>
</cp:coreProperties>
</file>